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9" r:id="rId2"/>
    <p:sldId id="270" r:id="rId3"/>
    <p:sldId id="272" r:id="rId4"/>
    <p:sldId id="271" r:id="rId5"/>
  </p:sldIdLst>
  <p:sldSz cx="12192000" cy="6858000"/>
  <p:notesSz cx="6858000" cy="9144000"/>
  <p:custDataLst>
    <p:tags r:id="rId6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F50"/>
    <a:srgbClr val="CCD4DA"/>
    <a:srgbClr val="23A9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00" d="100"/>
          <a:sy n="100" d="100"/>
        </p:scale>
        <p:origin x="84" y="4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8.png"/><Relationship Id="rId3" Type="http://schemas.openxmlformats.org/officeDocument/2006/relationships/tags" Target="../tags/tag6.xml"/><Relationship Id="rId7" Type="http://schemas.openxmlformats.org/officeDocument/2006/relationships/image" Target="../media/image10.png"/><Relationship Id="rId12" Type="http://schemas.openxmlformats.org/officeDocument/2006/relationships/image" Target="../media/image7.png"/><Relationship Id="rId2" Type="http://schemas.openxmlformats.org/officeDocument/2006/relationships/tags" Target="../tags/tag5.xml"/><Relationship Id="rId16" Type="http://schemas.openxmlformats.org/officeDocument/2006/relationships/image" Target="../media/image14.png"/><Relationship Id="rId1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6.png"/><Relationship Id="rId5" Type="http://schemas.openxmlformats.org/officeDocument/2006/relationships/tags" Target="../tags/tag8.xml"/><Relationship Id="rId15" Type="http://schemas.openxmlformats.org/officeDocument/2006/relationships/image" Target="../media/image1.png"/><Relationship Id="rId10" Type="http://schemas.openxmlformats.org/officeDocument/2006/relationships/image" Target="../media/image13.png"/><Relationship Id="rId4" Type="http://schemas.openxmlformats.org/officeDocument/2006/relationships/tags" Target="../tags/tag7.xml"/><Relationship Id="rId9" Type="http://schemas.openxmlformats.org/officeDocument/2006/relationships/image" Target="../media/image12.png"/><Relationship Id="rId14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 16">
            <a:extLst>
              <a:ext uri="{FF2B5EF4-FFF2-40B4-BE49-F238E27FC236}">
                <a16:creationId xmlns:a16="http://schemas.microsoft.com/office/drawing/2014/main" id="{8BD830CE-3B17-4911-B160-3774AF4431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18" r="90797" b="14940"/>
          <a:stretch/>
        </p:blipFill>
        <p:spPr>
          <a:xfrm>
            <a:off x="8807443" y="2578733"/>
            <a:ext cx="1959407" cy="427926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C822F5AA-F92D-48EF-AF1C-A1078AB3C04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7934228" y="2200893"/>
            <a:ext cx="3264991" cy="4657106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1DA59A9-9F4C-438B-93CC-4FAB631D57E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452" y="6045976"/>
            <a:ext cx="1999697" cy="462586"/>
          </a:xfrm>
          <a:prstGeom prst="rect">
            <a:avLst/>
          </a:prstGeom>
        </p:spPr>
      </p:pic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FAF5DAC1-3A15-4C7D-A517-A638FD0B9DE8}"/>
              </a:ext>
            </a:extLst>
          </p:cNvPr>
          <p:cNvCxnSpPr/>
          <p:nvPr userDrawn="1"/>
        </p:nvCxnSpPr>
        <p:spPr>
          <a:xfrm>
            <a:off x="393312" y="4097324"/>
            <a:ext cx="3981444" cy="0"/>
          </a:xfrm>
          <a:prstGeom prst="line">
            <a:avLst/>
          </a:prstGeom>
          <a:ln w="47625">
            <a:solidFill>
              <a:srgbClr val="23A9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>
            <a:extLst>
              <a:ext uri="{FF2B5EF4-FFF2-40B4-BE49-F238E27FC236}">
                <a16:creationId xmlns:a16="http://schemas.microsoft.com/office/drawing/2014/main" id="{551D4124-1644-4052-A039-374B7F42CE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6778" y="1527376"/>
            <a:ext cx="9144000" cy="1795665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rgbClr val="002F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/>
              <a:t>Titre de la présentation</a:t>
            </a:r>
            <a:endParaRPr lang="en-GB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4906F03-E483-4216-9562-A28A6BE479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4452" y="3380094"/>
            <a:ext cx="9144000" cy="554057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2F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Sous-titre de la présentation</a:t>
            </a:r>
            <a:endParaRPr lang="en-GB" dirty="0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02D93A8F-9EC3-4FA0-B173-FCA733DDF2A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76778" y="4341907"/>
            <a:ext cx="4514297" cy="369308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rgbClr val="002F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Nom du.de la </a:t>
            </a:r>
            <a:r>
              <a:rPr lang="fr-FR" dirty="0" err="1"/>
              <a:t>présentateur.trice</a:t>
            </a:r>
            <a:endParaRPr lang="fr-FR" dirty="0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B4349A13-FCF2-4051-8558-38FC605B8326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276778" y="4711215"/>
            <a:ext cx="4514297" cy="369308"/>
          </a:xfrm>
        </p:spPr>
        <p:txBody>
          <a:bodyPr>
            <a:normAutofit/>
          </a:bodyPr>
          <a:lstStyle>
            <a:lvl1pPr marL="0" indent="0">
              <a:buNone/>
              <a:defRPr sz="1600" b="0">
                <a:solidFill>
                  <a:srgbClr val="002F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Titre professionnel</a:t>
            </a:r>
          </a:p>
        </p:txBody>
      </p:sp>
      <p:sp>
        <p:nvSpPr>
          <p:cNvPr id="23" name="Espace réservé pour une image  2">
            <a:extLst>
              <a:ext uri="{FF2B5EF4-FFF2-40B4-BE49-F238E27FC236}">
                <a16:creationId xmlns:a16="http://schemas.microsoft.com/office/drawing/2014/main" id="{DD29C9B6-D528-4942-9F7E-860D6822FC45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276778" y="620174"/>
            <a:ext cx="1923497" cy="662620"/>
          </a:xfrm>
        </p:spPr>
        <p:txBody>
          <a:bodyPr/>
          <a:lstStyle>
            <a:lvl1pPr marL="0" indent="0">
              <a:buNone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Logo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11544FC-5C0C-4E84-B063-1FC3061047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0731498" y="2"/>
            <a:ext cx="1460500" cy="6858000"/>
          </a:xfrm>
          <a:prstGeom prst="rect">
            <a:avLst/>
          </a:prstGeom>
          <a:solidFill>
            <a:srgbClr val="002F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0BCB2FDF-3404-497B-A19A-B01D521CFC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801"/>
          <a:stretch/>
        </p:blipFill>
        <p:spPr>
          <a:xfrm rot="5400000">
            <a:off x="10586975" y="1702197"/>
            <a:ext cx="908118" cy="619075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D6EA8E3D-F429-4D62-8BA0-B5735C4FE85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7338" y="4519659"/>
            <a:ext cx="302706" cy="907755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A7CCCC6D-92B9-4CDE-9465-6F5B807E35A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9184" y="1024159"/>
            <a:ext cx="336475" cy="336475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6E175ED0-D10A-4B4E-A05A-1A4A3177AB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256"/>
          <a:stretch/>
        </p:blipFill>
        <p:spPr>
          <a:xfrm>
            <a:off x="11701759" y="2833480"/>
            <a:ext cx="490239" cy="630991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D8D4D050-4A7F-4CAD-92CF-8F07E46A30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297"/>
          <a:stretch/>
        </p:blipFill>
        <p:spPr>
          <a:xfrm rot="16200000">
            <a:off x="11498735" y="5815297"/>
            <a:ext cx="908118" cy="478412"/>
          </a:xfrm>
          <a:prstGeom prst="rect">
            <a:avLst/>
          </a:prstGeom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2648324A-9626-4EC5-84CA-6E35F3B105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142"/>
          <a:stretch/>
        </p:blipFill>
        <p:spPr>
          <a:xfrm>
            <a:off x="11047866" y="0"/>
            <a:ext cx="302706" cy="643219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31FE98E4-7270-40B4-8F7D-EAA3A6E4D20B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3697" y="3580683"/>
            <a:ext cx="336879" cy="336475"/>
          </a:xfrm>
          <a:prstGeom prst="rect">
            <a:avLst/>
          </a:prstGeom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745DC013-DAA2-42E5-B4A1-2A04C179B6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94" b="27650"/>
          <a:stretch/>
        </p:blipFill>
        <p:spPr>
          <a:xfrm>
            <a:off x="10731496" y="6401478"/>
            <a:ext cx="505767" cy="456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6082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C77E3C2-C293-4F4D-BBAC-023A7FC88C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238125"/>
            <a:ext cx="11220449" cy="990601"/>
          </a:xfrm>
        </p:spPr>
        <p:txBody>
          <a:bodyPr anchor="ctr">
            <a:normAutofit/>
          </a:bodyPr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GB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DE455BB-C113-4572-BE82-87523877AB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15450" y="6308725"/>
            <a:ext cx="2743200" cy="365125"/>
          </a:xfrm>
        </p:spPr>
        <p:txBody>
          <a:bodyPr/>
          <a:lstStyle>
            <a:lvl1pPr>
              <a:defRPr sz="2000" b="1">
                <a:solidFill>
                  <a:srgbClr val="CCD4D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5CBD6F3-1C95-4CAD-95F7-43BADBDD8A55}" type="slidenum">
              <a:rPr lang="en-GB" smtClean="0"/>
              <a:pPr/>
              <a:t>‹N°›</a:t>
            </a:fld>
            <a:endParaRPr lang="en-GB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02033E5-FDE3-4960-8730-FCBFA21C1A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302" y="6308724"/>
            <a:ext cx="1578391" cy="365126"/>
          </a:xfrm>
          <a:prstGeom prst="rect">
            <a:avLst/>
          </a:prstGeom>
        </p:spPr>
      </p:pic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8C99EE1D-F88C-4339-B53B-03B223ECFE11}"/>
              </a:ext>
            </a:extLst>
          </p:cNvPr>
          <p:cNvCxnSpPr>
            <a:cxnSpLocks/>
          </p:cNvCxnSpPr>
          <p:nvPr userDrawn="1"/>
        </p:nvCxnSpPr>
        <p:spPr>
          <a:xfrm>
            <a:off x="569500" y="1247777"/>
            <a:ext cx="3249202" cy="0"/>
          </a:xfrm>
          <a:prstGeom prst="line">
            <a:avLst/>
          </a:prstGeom>
          <a:ln w="57150">
            <a:solidFill>
              <a:srgbClr val="23A9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598BD831-9BF4-4040-A432-18E15B3681D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775" y="1714500"/>
            <a:ext cx="11220448" cy="43433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fr-FR" dirty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631339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sans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100EA505-27DD-4290-95E7-B00521EE5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15450" y="6308725"/>
            <a:ext cx="2743200" cy="365125"/>
          </a:xfrm>
        </p:spPr>
        <p:txBody>
          <a:bodyPr/>
          <a:lstStyle>
            <a:lvl1pPr>
              <a:defRPr sz="2000" b="1">
                <a:solidFill>
                  <a:srgbClr val="CCD4D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5CBD6F3-1C95-4CAD-95F7-43BADBDD8A55}" type="slidenum">
              <a:rPr lang="en-GB" smtClean="0"/>
              <a:pPr/>
              <a:t>‹N°›</a:t>
            </a:fld>
            <a:endParaRPr lang="en-GB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BEB186A-A1E3-4D47-BE2D-137B228DD1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302" y="6308724"/>
            <a:ext cx="1578391" cy="365126"/>
          </a:xfrm>
          <a:prstGeom prst="rect">
            <a:avLst/>
          </a:prstGeom>
        </p:spPr>
      </p:pic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BA287177-39FF-441E-8486-3C8652F1764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3875" y="552450"/>
            <a:ext cx="5486400" cy="52363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424DE6C4-857E-4086-B5F9-4D8EA2C33A7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81727" y="552450"/>
            <a:ext cx="5486400" cy="52363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fr-FR" dirty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358717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DB72AC4-1D37-4D0C-985E-2F3166BA7EF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576924" y="6"/>
            <a:ext cx="10615075" cy="6857994"/>
          </a:xfrm>
          <a:prstGeom prst="rect">
            <a:avLst/>
          </a:prstGeom>
          <a:solidFill>
            <a:srgbClr val="CCD4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1381E0C1-4323-427C-B420-716B6ECE328E}"/>
              </a:ext>
            </a:extLst>
          </p:cNvPr>
          <p:cNvCxnSpPr/>
          <p:nvPr userDrawn="1"/>
        </p:nvCxnSpPr>
        <p:spPr>
          <a:xfrm>
            <a:off x="2190601" y="3337972"/>
            <a:ext cx="3981444" cy="0"/>
          </a:xfrm>
          <a:prstGeom prst="line">
            <a:avLst/>
          </a:prstGeom>
          <a:ln w="47625">
            <a:solidFill>
              <a:srgbClr val="23A9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56CAE727-8A8B-4C6D-87A6-D1FE96BAA9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-1989" y="7"/>
            <a:ext cx="1460501" cy="6857994"/>
          </a:xfrm>
          <a:prstGeom prst="rect">
            <a:avLst/>
          </a:prstGeom>
          <a:solidFill>
            <a:srgbClr val="CCD4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14E41D22-BBB7-4FEC-892A-384F2B2253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371"/>
          <a:stretch/>
        </p:blipFill>
        <p:spPr>
          <a:xfrm rot="5400000">
            <a:off x="-151111" y="1716325"/>
            <a:ext cx="893689" cy="59545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7D99D848-5B02-41E8-8E6A-0E1A053DADD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540" y="4533732"/>
            <a:ext cx="298016" cy="893689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D8184226-DFB1-42EE-AC89-40B0BE27E53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017" y="1029380"/>
            <a:ext cx="331261" cy="331261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483DC6A8-C0DE-41E5-A8B4-F81A7F5DA1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550"/>
          <a:stretch/>
        </p:blipFill>
        <p:spPr>
          <a:xfrm>
            <a:off x="976115" y="2831747"/>
            <a:ext cx="482395" cy="63099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FA81C6F-BD9A-4141-B83F-B03681D1C8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297"/>
          <a:stretch/>
        </p:blipFill>
        <p:spPr>
          <a:xfrm rot="16200000">
            <a:off x="765247" y="5815304"/>
            <a:ext cx="908118" cy="478412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6153B52B-FC41-4173-9702-FED6DFA9A3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142"/>
          <a:stretch/>
        </p:blipFill>
        <p:spPr>
          <a:xfrm>
            <a:off x="314378" y="7"/>
            <a:ext cx="302706" cy="643219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00CF9BDC-073A-4CD6-A77B-85FCFC1CE8C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209" y="3580690"/>
            <a:ext cx="336879" cy="33647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6451F65E-FF26-409F-8BFA-27F8B703D5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94" b="27650"/>
          <a:stretch/>
        </p:blipFill>
        <p:spPr>
          <a:xfrm>
            <a:off x="-1992" y="6401485"/>
            <a:ext cx="505767" cy="456523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A8856340-808A-429B-9391-41FFBAFFA406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0601" y="3713299"/>
            <a:ext cx="3192111" cy="738424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34900A09-8484-4B71-A6AE-91E341CB49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8163" b="30189"/>
          <a:stretch/>
        </p:blipFill>
        <p:spPr>
          <a:xfrm>
            <a:off x="10764299" y="5249303"/>
            <a:ext cx="1179161" cy="1608697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AE6626C1-94A7-4E2B-9B6E-33F4C783DA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8163" b="30189"/>
          <a:stretch/>
        </p:blipFill>
        <p:spPr>
          <a:xfrm>
            <a:off x="9435915" y="5249303"/>
            <a:ext cx="1179161" cy="1608697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9E827C8D-AE18-4D31-84A5-4A2AD3367F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8163" b="30189"/>
          <a:stretch/>
        </p:blipFill>
        <p:spPr>
          <a:xfrm>
            <a:off x="8107531" y="5249303"/>
            <a:ext cx="1179161" cy="1608697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82BEC27C-A32E-4434-B7D3-21371929A4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0615076" y="4826000"/>
            <a:ext cx="1338318" cy="2032000"/>
          </a:xfrm>
          <a:prstGeom prst="rect">
            <a:avLst/>
          </a:prstGeom>
          <a:solidFill>
            <a:srgbClr val="CCD4D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B91CC49-BFC0-475B-9B4E-A12F469E0F1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9356337" y="4826000"/>
            <a:ext cx="1338318" cy="2032000"/>
          </a:xfrm>
          <a:prstGeom prst="rect">
            <a:avLst/>
          </a:prstGeom>
          <a:solidFill>
            <a:srgbClr val="CCD4DA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1A3BEAB-2988-409B-A299-9B4D06E159D0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7978230" y="4826000"/>
            <a:ext cx="1338318" cy="2032000"/>
          </a:xfrm>
          <a:prstGeom prst="rect">
            <a:avLst/>
          </a:prstGeom>
          <a:solidFill>
            <a:srgbClr val="CCD4DA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DEA01E29-7AE3-4AD8-B5E3-939CC3F5D5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9037" y="2246946"/>
            <a:ext cx="6208663" cy="990601"/>
          </a:xfrm>
        </p:spPr>
        <p:txBody>
          <a:bodyPr anchor="ctr">
            <a:normAutofit/>
          </a:bodyPr>
          <a:lstStyle>
            <a:lvl1pPr>
              <a:defRPr sz="3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/>
              <a:t>Merci pour votre atten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35379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5026E480-ED3D-4B8B-8031-673522108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0605E8D-82D8-457F-A2DC-202E5A6A9B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4BF5EFD-64DE-4441-85D2-A96FDC49F8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6AF80B-1ABD-4257-9FB8-8B3BEBF47197}" type="datetimeFigureOut">
              <a:rPr lang="en-GB" smtClean="0"/>
              <a:t>25/09/2024</a:t>
            </a:fld>
            <a:endParaRPr lang="en-GB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6F4C30C-484C-42B9-9504-74D1650F28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2461DC5-0C63-4E51-96D9-2C53E3F8F9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CBD6F3-1C95-4CAD-95F7-43BADBDD8A55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4876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50" r:id="rId3"/>
    <p:sldLayoutId id="214748365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1C5053A-EC43-4A18-9EA6-00C177BF22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Sous-titre 3">
            <a:extLst>
              <a:ext uri="{FF2B5EF4-FFF2-40B4-BE49-F238E27FC236}">
                <a16:creationId xmlns:a16="http://schemas.microsoft.com/office/drawing/2014/main" id="{34E638FC-2F80-44E5-8C94-303F8893B7F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EC2E245-189C-4646-9C60-6A17211E7A4E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D2C0B72-43CB-40DD-A1E4-455C5DBD2FDD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11" name="Espace réservé pour une image  10">
            <a:extLst>
              <a:ext uri="{FF2B5EF4-FFF2-40B4-BE49-F238E27FC236}">
                <a16:creationId xmlns:a16="http://schemas.microsoft.com/office/drawing/2014/main" id="{8FD156D9-6F5A-4D4B-9988-775F8A037493}"/>
              </a:ext>
            </a:extLst>
          </p:cNvPr>
          <p:cNvSpPr>
            <a:spLocks noGrp="1"/>
          </p:cNvSpPr>
          <p:nvPr>
            <p:ph type="pic" idx="12"/>
          </p:nvPr>
        </p:nvSpPr>
        <p:spPr/>
      </p:sp>
    </p:spTree>
    <p:extLst>
      <p:ext uri="{BB962C8B-B14F-4D97-AF65-F5344CB8AC3E}">
        <p14:creationId xmlns:p14="http://schemas.microsoft.com/office/powerpoint/2010/main" val="34010041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>
            <a:extLst>
              <a:ext uri="{FF2B5EF4-FFF2-40B4-BE49-F238E27FC236}">
                <a16:creationId xmlns:a16="http://schemas.microsoft.com/office/drawing/2014/main" id="{150A5CEC-E858-4E01-B568-566AA71865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2140080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 1">
            <a:extLst>
              <a:ext uri="{FF2B5EF4-FFF2-40B4-BE49-F238E27FC236}">
                <a16:creationId xmlns:a16="http://schemas.microsoft.com/office/drawing/2014/main" id="{BB8127AF-0ECE-408A-A9EC-AC94F85D3D10}"/>
              </a:ext>
            </a:extLst>
          </p:cNvPr>
          <p:cNvSpPr>
            <a:spLocks noGrp="1"/>
          </p:cNvSpPr>
          <p:nvPr>
            <p:ph idx="1"/>
          </p:nvPr>
        </p:nvSpPr>
        <p:spPr/>
      </p:sp>
      <p:sp>
        <p:nvSpPr>
          <p:cNvPr id="3" name=" 2">
            <a:extLst>
              <a:ext uri="{FF2B5EF4-FFF2-40B4-BE49-F238E27FC236}">
                <a16:creationId xmlns:a16="http://schemas.microsoft.com/office/drawing/2014/main" id="{E638F538-90EC-4FFB-B589-2B2D78B930AF}"/>
              </a:ext>
            </a:extLst>
          </p:cNvPr>
          <p:cNvSpPr>
            <a:spLocks noGrp="1"/>
          </p:cNvSpPr>
          <p:nvPr>
            <p:ph idx="13"/>
          </p:nvPr>
        </p:nvSpPr>
        <p:spPr/>
      </p:sp>
    </p:spTree>
    <p:extLst>
      <p:ext uri="{BB962C8B-B14F-4D97-AF65-F5344CB8AC3E}">
        <p14:creationId xmlns:p14="http://schemas.microsoft.com/office/powerpoint/2010/main" val="21093309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90F4085A-C928-45F1-8281-D3388E661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965503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MBAQEBAQEBAQEBAQEBAQMAAAAAAAAAAwAAAAMAAAAA/////wUA2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93pGyRiShhAs1n6C/37sCoEAAAAAAADAAAAAAADAAAAAwADAAAAAAADAAAAAwADAAAAAAADAAAAAwADAAAAAAD///////8DAAMA////////BQAAAAMAEAALZ6lTes6y9EaA2x5Q9PyZyQQAAAABAAMAAAACAAMAAAAEAAMAAAACAP///////wMAAAACAP///////wQAAQD///////8FAAAABAAQAAvm0fe/gzK9SKZ9KzkWWL/d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/GAMYAAAAFX2lkABAAAAAE3ekbJGJKGECzWfoL/fuwKgNEYXRhAFMAAAAIUHJlc2VudGF0aW9uU2Nhbm5lZEZvckxpbmtlZFNoYXBlcwAAAk51bWJlckZvcm1hdFNlcGFyYXRvck1vZGUACgAAAEF1dG9tYXRpYwAAAk5hbWUAJAAAAExpbmtlZFNoYXBlUHJlc2VudGF0aW9uU2V0dGluZ3NEYXRhABBWZXJzaW9uAAAAAAAJTGFzdFdyaXRlAErEEh+SAQAAAAEA/////4MAgwAAAAVfaWQAEAAAAARnqVN6zrL0RoDbHlD0/JnJA0RhdGEAGwAAAARMaW5rZWRTaGFwZURhdGEABQAAAAAAAk5hbWUAGQAAAExpbmtlZFNoYXBlc0RhdGFQcm9wZXJ0eQAQVmVyc2lvbgABAAAACUxhc3RXcml0ZQBJxBIfkgEAAAACAP////+DAIMAAAAFX2lkABAAAAAE5tH3v4MyvUimfSs5Fli/3QNEYXRhABsAAAAETGlua2VkU2hhcGVEYXRhAAUAAAAAAAJOYW1lABkAAABMaW5rZWRTaGFwZXNEYXRhUHJvcGVydHkAEFZlcnNpb24AAAAAAAlMYXN0V3JpdGUAMMQSH5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VCwAAAAAAAAAAAAAgAf///////////////wAAAP////////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JQAGTGlua2VkU2hhcGVQcmVzZW50YXRpb25TZXR0aW5nc0RhdGFfMAQAAAAAAAUAAAAAAAUAAAAEAAUAAAAAAP///////wUAAAAAAP///////wMAAQEDAAAAAwD///////8aAAZMaW5rZWRTaGFwZXNEYXRhUHJvcGVydHlfMQQAAAABAAUAAAAEAAUAAAABAAQAAQEDAAAABAD///////8aAAZMaW5rZWRTaGFwZXNEYXRhUHJvcGVydHlfMAQAAAACAAUAAAACAAU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626949766429802"/>
  <p:tag name="EMPOWERCHARTSPROPERTIES_A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/////wUA/gsAAAAAAAAAAAAAIAD///////////////8AAAD////////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yiIe0RKHctEvOudZyBEQ8sEAAAAAAADAAAABAADAAAAAwADAAEA////////BQAAAAMAEAALiO61i/kMJk6Srn/DMN+HvAQAAAABAAMAAAACAAMAAAABAAQAAwD///////8FAAAABAAQAAsrtoYQdjL+QI4QtX+fcJXzBAAAAAIAAwAAAAAAAwAAAAIA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KIh7REody0S8651nIERDywREYXRhAAUAAAAAAk5hbWUADQAAAExpbmtEYXRhTGlzdAAQVmVyc2lvbgAAAAAACUxhc3RXcml0ZQD0FCofkgEAAAABAP////9hAGEAAAAFX2lkABAAAAAEiO61i/kMJk6Srn/DMN+HvAREYXRhAAUAAAAAAk5hbWUADQAAAExpbmtEYXRhTGlzdAAQVmVyc2lvbgABAAAACUxhc3RXcml0ZQD0FCofkgEAAAACAP////9wAHAAAAAFX2lkABAAAAAEK7aGEHYy/kCOELV/n3CV8wNEYXRhABYAAAACUGVyc29uYWxJZAABAAAAAAACTmFtZQALAAAAUGVyc29uYWxJZAAQVmVyc2lvbgAAAAAACUxhc3RXcml0ZQAIFSof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26965046030207"/>
  <p:tag name="EMPOWERCHARTSPROPERTIES_B_LENGTH" val="24576"/>
  <p:tag name="DOWN_MIGRATION_INITIAL_LAYOUT_REQUIRED" val="9.2.99"/>
  <p:tag name="RUNTIME_ID" val="c65aa9dc-5e69-4dac-a6cf-f1d2855abe2f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+ehDY7+yolErc4rkXCE5iUEAAAAAAADAAAABAADAAAAAwADAAAABAD///////8DAAEA////////BQAAAAMAEAALf1QO4OBvrUuh2ralhBz3fgQAAAABAAMAAAACAAMAAAABAAQAAgD///////8FAAAABAAQAAvRpwaFV4W4RrwuRRiwpnpO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56ENjv7KiUStziuRcITmJQREYXRhAAUAAAAAAk5hbWUADQAAAExpbmtEYXRhTGlzdAAQVmVyc2lvbgAAAAAACUxhc3RXcml0ZQCr1EMfkgEAAAABAP////9hAGEAAAAFX2lkABAAAAAEf1QO4OBvrUuh2ralhBz3fgREYXRhAAUAAAAAAk5hbWUADQAAAExpbmtEYXRhTGlzdAAQVmVyc2lvbgABAAAACUxhc3RXcml0ZQCu1EMfkgEAAAACAP////9wAHAAAAAFX2lkABAAAAAE0acGhVeFuEa8LkUYsKZ6TgNEYXRhABYAAAACUGVyc29uYWxJZAABAAAAAAACTmFtZQALAAAAUGVyc29uYWxJZAAQVmVyc2lvbgAAAAAACUxhc3RXcml0ZQDD1EMf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26981920938972"/>
  <p:tag name="EMPOWERCHARTSPROPERTIES_B_LENGTH" val="24576"/>
  <p:tag name="DOWN_MIGRATION_INITIAL_LAYOUT_REQUIRED" val="9.2.99"/>
  <p:tag name="RUNTIME_ID" val="93636852-30be-438f-987e-6a919da371a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BAD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4/3bk0kbYxMlsHvuEYi7ZMEAAAAAAADAAAABAADAAAAAwADAAAABAD///////8DAAAAAAD///////8DAAEA////////BQAAAAMAEAALB3+5X+51jEaTaUM36zOt4QQAAAABAAMAAAACAAMAAAABAAQAAgD///////8FAAAABAAQAAuGU59GvQrHQqTPr+SAJW6e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j/duTSRtjEyWwe+4RiLtkwREYXRhAAUAAAAAAk5hbWUADQAAAExpbmtEYXRhTGlzdAAQVmVyc2lvbgABAAAACUxhc3RXcml0ZQAvkHUfkgEAAAABAP////9hAGEAAAAFX2lkABAAAAAEB3+5X+51jEaTaUM36zOt4QREYXRhAAUAAAAAAk5hbWUADQAAAExpbmtEYXRhTGlzdAAQVmVyc2lvbgAAAAAACUxhc3RXcml0ZQAvkHUfkgEAAAACAP////9wAHAAAAAFX2lkABAAAAAEhlOfRr0Kx0Kkz6/kgCVungNEYXRhABYAAAACUGVyc29uYWxJZAABAAAAAAACTmFtZQALAAAAUGVyc29uYWxJZAAQVmVyc2lvbgAAAAAACUxhc3RXcml0ZQBFkHUf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D///////8DAAEBAwAAAAMA////////DgAGTGlua0RhdGFMaXN0XzAEAAAAAQ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27014513544332"/>
  <p:tag name="EMPOWERCHARTSPROPERTIES_B_LENGTH" val="24576"/>
  <p:tag name="DOWN_MIGRATION_INITIAL_LAYOUT_REQUIRED" val="9.2.99"/>
  <p:tag name="RUNTIME_ID" val="7aef1308-a71e-4f9c-ba56-6418ce9cff8b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BAD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4/3bk0kbYxMlsHvuEYi7ZMEAAAAAAADAAAABAADAAAAAwADAAAABAD///////8DAAAAAAD///////8DAAEA////////BQAAAAMAEAALB3+5X+51jEaTaUM36zOt4QQAAAABAAMAAAACAAMAAAABAAQAAgD///////8FAAAABAAQAAuGU59GvQrHQqTPr+SAJW6e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j/duTSRtjEyWwe+4RiLtkwREYXRhAAUAAAAAAk5hbWUADQAAAExpbmtEYXRhTGlzdAAQVmVyc2lvbgABAAAACUxhc3RXcml0ZQAvkHUfkgEAAAABAP////9hAGEAAAAFX2lkABAAAAAEB3+5X+51jEaTaUM36zOt4QREYXRhAAUAAAAAAk5hbWUADQAAAExpbmtEYXRhTGlzdAAQVmVyc2lvbgAAAAAACUxhc3RXcml0ZQAvkHUfkgEAAAACAP////9wAHAAAAAFX2lkABAAAAAEhlOfRr0Kx0Kkz6/kgCVungNEYXRhABYAAAACUGVyc29uYWxJZAABAAAAAAACTmFtZQALAAAAUGVyc29uYWxJZAAQVmVyc2lvbgAAAAAACUxhc3RXcml0ZQBFkHUf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D///////8DAAEBAwAAAAMA////////DgAGTGlua0RhdGFMaXN0XzAEAAAAAQ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27014513544332"/>
  <p:tag name="EMPOWERCHARTSPROPERTIES_B_LENGTH" val="24576"/>
  <p:tag name="DOWN_MIGRATION_INITIAL_LAYOUT_REQUIRED" val="9.2.99"/>
  <p:tag name="RUNTIME_ID" val="2a81124c-f1b6-46f7-ac5d-244daf7956ac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BAD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4/3bk0kbYxMlsHvuEYi7ZMEAAAAAAADAAAABAADAAAAAwADAAAABAD///////8DAAAAAAD///////8DAAEA////////BQAAAAMAEAALB3+5X+51jEaTaUM36zOt4QQAAAABAAMAAAACAAMAAAABAAQAAgD///////8FAAAABAAQAAuGU59GvQrHQqTPr+SAJW6e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j/duTSRtjEyWwe+4RiLtkwREYXRhAAUAAAAAAk5hbWUADQAAAExpbmtEYXRhTGlzdAAQVmVyc2lvbgABAAAACUxhc3RXcml0ZQAvkHUfkgEAAAABAP////9hAGEAAAAFX2lkABAAAAAEB3+5X+51jEaTaUM36zOt4QREYXRhAAUAAAAAAk5hbWUADQAAAExpbmtEYXRhTGlzdAAQVmVyc2lvbgAAAAAACUxhc3RXcml0ZQAvkHUfkgEAAAACAP////9wAHAAAAAFX2lkABAAAAAEhlOfRr0Kx0Kkz6/kgCVungNEYXRhABYAAAACUGVyc29uYWxJZAABAAAAAAACTmFtZQALAAAAUGVyc29uYWxJZAAQVmVyc2lvbgAAAAAACUxhc3RXcml0ZQBFkHUf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D///////8DAAEBAwAAAAMA////////DgAGTGlua0RhdGFMaXN0XzAEAAAAAQ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27014513544332"/>
  <p:tag name="EMPOWERCHARTSPROPERTIES_B_LENGTH" val="24576"/>
  <p:tag name="DOWN_MIGRATION_INITIAL_LAYOUT_REQUIRED" val="9.2.99"/>
  <p:tag name="RUNTIME_ID" val="cd0e7e83-e966-45c1-9702-a9fe9f318fd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BAD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4/3bk0kbYxMlsHvuEYi7ZMEAAAAAAADAAAABAADAAAAAwADAAAABAD///////8DAAAAAAD///////8DAAEA////////BQAAAAMAEAALB3+5X+51jEaTaUM36zOt4QQAAAABAAMAAAACAAMAAAABAAQAAgD///////8FAAAABAAQAAuGU59GvQrHQqTPr+SAJW6e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j/duTSRtjEyWwe+4RiLtkwREYXRhAAUAAAAAAk5hbWUADQAAAExpbmtEYXRhTGlzdAAQVmVyc2lvbgABAAAACUxhc3RXcml0ZQAvkHUfkgEAAAABAP////9hAGEAAAAFX2lkABAAAAAEB3+5X+51jEaTaUM36zOt4QREYXRhAAUAAAAAAk5hbWUADQAAAExpbmtEYXRhTGlzdAAQVmVyc2lvbgAAAAAACUxhc3RXcml0ZQAvkHUfkgEAAAACAP////9wAHAAAAAFX2lkABAAAAAEhlOfRr0Kx0Kkz6/kgCVungNEYXRhABYAAAACUGVyc29uYWxJZAABAAAAAAACTmFtZQALAAAAUGVyc29uYWxJZAAQVmVyc2lvbgAAAAAACUxhc3RXcml0ZQBFkHUf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D///////8DAAEBAwAAAAMA////////DgAGTGlua0RhdGFMaXN0XzAEAAAAAQ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27014513544332"/>
  <p:tag name="EMPOWERCHARTSPROPERTIES_B_LENGTH" val="24576"/>
  <p:tag name="DOWN_MIGRATION_INITIAL_LAYOUT_REQUIRED" val="9.2.99"/>
  <p:tag name="RUNTIME_ID" val="468759b0-ddcd-4c6f-97b3-f9d1e691094b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BAD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4/3bk0kbYxMlsHvuEYi7ZMEAAAAAAADAAAABAADAAAAAwADAAAABAD///////8DAAAAAAD///////8DAAEA////////BQAAAAMAEAALB3+5X+51jEaTaUM36zOt4QQAAAABAAMAAAACAAMAAAABAAQAAgD///////8FAAAABAAQAAuGU59GvQrHQqTPr+SAJW6e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j/duTSRtjEyWwe+4RiLtkwREYXRhAAUAAAAAAk5hbWUADQAAAExpbmtEYXRhTGlzdAAQVmVyc2lvbgABAAAACUxhc3RXcml0ZQAvkHUfkgEAAAABAP////9hAGEAAAAFX2lkABAAAAAEB3+5X+51jEaTaUM36zOt4QREYXRhAAUAAAAAAk5hbWUADQAAAExpbmtEYXRhTGlzdAAQVmVyc2lvbgAAAAAACUxhc3RXcml0ZQAvkHUfkgEAAAACAP////9wAHAAAAAFX2lkABAAAAAEhlOfRr0Kx0Kkz6/kgCVungNEYXRhABYAAAACUGVyc29uYWxJZAABAAAAAAACTmFtZQALAAAAUGVyc29uYWxJZAAQVmVyc2lvbgAAAAAACUxhc3RXcml0ZQBFkHUf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D///////8DAAEBAwAAAAMA////////DgAGTGlua0RhdGFMaXN0XzAEAAAAAQ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27014513544332"/>
  <p:tag name="EMPOWERCHARTSPROPERTIES_B_LENGTH" val="24576"/>
  <p:tag name="DOWN_MIGRATION_INITIAL_LAYOUT_REQUIRED" val="9.2.99"/>
  <p:tag name="RUNTIME_ID" val="f64a43d9-cd70-417e-9468-e699a40b7f4a"/>
</p:tagLst>
</file>

<file path=ppt/theme/theme1.xml><?xml version="1.0" encoding="utf-8"?>
<a:theme xmlns:a="http://schemas.openxmlformats.org/drawingml/2006/main" name="Thème Office">
  <a:themeElements>
    <a:clrScheme name="Personnalisé 1">
      <a:dk1>
        <a:sysClr val="windowText" lastClr="000000"/>
      </a:dk1>
      <a:lt1>
        <a:sysClr val="window" lastClr="FFFFFF"/>
      </a:lt1>
      <a:dk2>
        <a:srgbClr val="002F50"/>
      </a:dk2>
      <a:lt2>
        <a:srgbClr val="CCD4DA"/>
      </a:lt2>
      <a:accent1>
        <a:srgbClr val="002F50"/>
      </a:accent1>
      <a:accent2>
        <a:srgbClr val="23A975"/>
      </a:accent2>
      <a:accent3>
        <a:srgbClr val="CE153D"/>
      </a:accent3>
      <a:accent4>
        <a:srgbClr val="FDC414"/>
      </a:accent4>
      <a:accent5>
        <a:srgbClr val="18BBBB"/>
      </a:accent5>
      <a:accent6>
        <a:srgbClr val="002F50"/>
      </a:accent6>
      <a:hlink>
        <a:srgbClr val="23A975"/>
      </a:hlink>
      <a:folHlink>
        <a:srgbClr val="C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8</TotalTime>
  <Words>0</Words>
  <Application>Microsoft Office PowerPoint</Application>
  <PresentationFormat>Grand écran</PresentationFormat>
  <Paragraphs>0</Paragraphs>
  <Slides>4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7" baseType="lpstr">
      <vt:lpstr>Arial</vt:lpstr>
      <vt:lpstr>Calibri</vt:lpstr>
      <vt:lpstr>Thème Office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Penez , Juliette</dc:creator>
  <cp:lastModifiedBy>Penez , Juliette</cp:lastModifiedBy>
  <cp:revision>28</cp:revision>
  <dcterms:created xsi:type="dcterms:W3CDTF">2024-09-23T13:38:22Z</dcterms:created>
  <dcterms:modified xsi:type="dcterms:W3CDTF">2024-09-25T15:13:29Z</dcterms:modified>
</cp:coreProperties>
</file>